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sldIdLst>
    <p:sldId id="256" r:id="rId3"/>
    <p:sldId id="543" r:id="rId4"/>
    <p:sldId id="544" r:id="rId5"/>
    <p:sldId id="551" r:id="rId6"/>
    <p:sldId id="538" r:id="rId7"/>
    <p:sldId id="539" r:id="rId8"/>
    <p:sldId id="540" r:id="rId9"/>
    <p:sldId id="541" r:id="rId10"/>
    <p:sldId id="542" r:id="rId11"/>
    <p:sldId id="545" r:id="rId12"/>
    <p:sldId id="546" r:id="rId13"/>
    <p:sldId id="547" r:id="rId14"/>
    <p:sldId id="548" r:id="rId15"/>
    <p:sldId id="549" r:id="rId16"/>
    <p:sldId id="550" r:id="rId17"/>
    <p:sldId id="560" r:id="rId18"/>
    <p:sldId id="561" r:id="rId19"/>
    <p:sldId id="562" r:id="rId20"/>
    <p:sldId id="563" r:id="rId21"/>
    <p:sldId id="564" r:id="rId22"/>
    <p:sldId id="565" r:id="rId23"/>
    <p:sldId id="566" r:id="rId24"/>
    <p:sldId id="552" r:id="rId25"/>
    <p:sldId id="553" r:id="rId26"/>
    <p:sldId id="554" r:id="rId27"/>
    <p:sldId id="555" r:id="rId28"/>
    <p:sldId id="556" r:id="rId29"/>
    <p:sldId id="557" r:id="rId30"/>
    <p:sldId id="558" r:id="rId31"/>
    <p:sldId id="559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24" autoAdjust="0"/>
    <p:restoredTop sz="94660"/>
  </p:normalViewPr>
  <p:slideViewPr>
    <p:cSldViewPr>
      <p:cViewPr varScale="1">
        <p:scale>
          <a:sx n="69" d="100"/>
          <a:sy n="69" d="100"/>
        </p:scale>
        <p:origin x="7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" name="Image" r:id="rId3" imgW="12990476" imgH="9739683" progId="">
                  <p:embed/>
                </p:oleObj>
              </mc:Choice>
              <mc:Fallback>
                <p:oleObj name="Image" r:id="rId3" imgW="12990476" imgH="9739683" progId="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051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3461E-5807-447B-B34C-202A61E0D7E3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379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58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0294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2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2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2734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6" name="Object 9"/>
          <p:cNvGraphicFramePr>
            <a:graphicFrameLocks noChangeAspect="1"/>
          </p:cNvGraphicFramePr>
          <p:nvPr/>
        </p:nvGraphicFramePr>
        <p:xfrm>
          <a:off x="9753600" y="5030788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1" name="Image" r:id="rId7" imgW="12990476" imgH="9739683" progId="">
                  <p:embed/>
                </p:oleObj>
              </mc:Choice>
              <mc:Fallback>
                <p:oleObj name="Image" r:id="rId7" imgW="12990476" imgH="9739683" progId="">
                  <p:embed/>
                  <p:pic>
                    <p:nvPicPr>
                      <p:cNvPr id="1026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5030788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304800"/>
            <a:ext cx="782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20800" y="1371600"/>
            <a:ext cx="90424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03200" y="6416676"/>
            <a:ext cx="508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6741851-F51D-4D64-8E52-9B894B462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4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73761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7DEB7D41-1B34-40F2-B097-CD29A21F5FC6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6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e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8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2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2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7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362200" y="2895600"/>
            <a:ext cx="7772400" cy="1806714"/>
          </a:xfrm>
        </p:spPr>
        <p:txBody>
          <a:bodyPr/>
          <a:lstStyle/>
          <a:p>
            <a:r>
              <a:rPr lang="en-US" dirty="0"/>
              <a:t>Business Review </a:t>
            </a:r>
            <a:br>
              <a:rPr lang="en-US" dirty="0"/>
            </a:br>
            <a:r>
              <a:rPr lang="en-US" dirty="0"/>
              <a:t>AO – </a:t>
            </a:r>
            <a:r>
              <a:rPr lang="en-US" dirty="0" smtClean="0"/>
              <a:t>CHENNAI</a:t>
            </a:r>
            <a:br>
              <a:rPr lang="en-US" dirty="0" smtClean="0"/>
            </a:br>
            <a:r>
              <a:rPr lang="en-US" dirty="0" smtClean="0"/>
              <a:t>Nov’ 22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7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34F925D-8992-4FEA-80B1-86102B1DDA36}"/>
              </a:ext>
            </a:extLst>
          </p:cNvPr>
          <p:cNvSpPr txBox="1"/>
          <p:nvPr/>
        </p:nvSpPr>
        <p:spPr>
          <a:xfrm>
            <a:off x="3657600" y="3429000"/>
            <a:ext cx="487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ses</a:t>
            </a:r>
          </a:p>
        </p:txBody>
      </p:sp>
    </p:spTree>
    <p:extLst>
      <p:ext uri="{BB962C8B-B14F-4D97-AF65-F5344CB8AC3E}">
        <p14:creationId xmlns:p14="http://schemas.microsoft.com/office/powerpoint/2010/main" val="28207684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DV Passenge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609600" y="1524000"/>
          <a:ext cx="10666413" cy="4649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92" name="Worksheet" r:id="rId3" imgW="6839065" imgH="2981473" progId="Excel.Sheet.12">
                  <p:embed/>
                </p:oleObj>
              </mc:Choice>
              <mc:Fallback>
                <p:oleObj name="Worksheet" r:id="rId3" imgW="6839065" imgH="2981473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6413" cy="4649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494470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Passenge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609600" y="1524000"/>
          <a:ext cx="10666413" cy="4649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6" name="Worksheet" r:id="rId3" imgW="6839065" imgH="2981473" progId="Excel.Sheet.12">
                  <p:embed/>
                </p:oleObj>
              </mc:Choice>
              <mc:Fallback>
                <p:oleObj name="Worksheet" r:id="rId3" imgW="6839065" imgH="2981473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6413" cy="4649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991926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E0840C-6B67-44EB-A0FD-3B8FA357C7FB}"/>
              </a:ext>
            </a:extLst>
          </p:cNvPr>
          <p:cNvSpPr txBox="1"/>
          <p:nvPr/>
        </p:nvSpPr>
        <p:spPr>
          <a:xfrm>
            <a:off x="381000" y="457200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t Map – Buses FY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-22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320797" y="2350511"/>
          <a:ext cx="9042407" cy="2766577"/>
        </p:xfrm>
        <a:graphic>
          <a:graphicData uri="http://schemas.openxmlformats.org/drawingml/2006/table">
            <a:tbl>
              <a:tblPr/>
              <a:tblGrid>
                <a:gridCol w="1030925">
                  <a:extLst>
                    <a:ext uri="{9D8B030D-6E8A-4147-A177-3AD203B41FA5}">
                      <a16:colId xmlns:a16="http://schemas.microsoft.com/office/drawing/2014/main" val="2410089251"/>
                    </a:ext>
                  </a:extLst>
                </a:gridCol>
                <a:gridCol w="386597">
                  <a:extLst>
                    <a:ext uri="{9D8B030D-6E8A-4147-A177-3AD203B41FA5}">
                      <a16:colId xmlns:a16="http://schemas.microsoft.com/office/drawing/2014/main" val="11429884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59592351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921976951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984414338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21883872"/>
                    </a:ext>
                  </a:extLst>
                </a:gridCol>
                <a:gridCol w="612607">
                  <a:extLst>
                    <a:ext uri="{9D8B030D-6E8A-4147-A177-3AD203B41FA5}">
                      <a16:colId xmlns:a16="http://schemas.microsoft.com/office/drawing/2014/main" val="152280268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42430380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714040342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80860684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718322583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560642463"/>
                    </a:ext>
                  </a:extLst>
                </a:gridCol>
                <a:gridCol w="600712">
                  <a:extLst>
                    <a:ext uri="{9D8B030D-6E8A-4147-A177-3AD203B41FA5}">
                      <a16:colId xmlns:a16="http://schemas.microsoft.com/office/drawing/2014/main" val="469914158"/>
                    </a:ext>
                  </a:extLst>
                </a:gridCol>
                <a:gridCol w="344963">
                  <a:extLst>
                    <a:ext uri="{9D8B030D-6E8A-4147-A177-3AD203B41FA5}">
                      <a16:colId xmlns:a16="http://schemas.microsoft.com/office/drawing/2014/main" val="389173793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341788290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37498538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164286911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084231707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40991272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98423141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02633666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944027482"/>
                    </a:ext>
                  </a:extLst>
                </a:gridCol>
              </a:tblGrid>
              <a:tr h="5171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onamalle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ava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dapp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lore 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upu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dicherry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 Chenn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458151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V Bus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696826"/>
                  </a:ext>
                </a:extLst>
              </a:tr>
              <a:tr h="23418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1433015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427152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V Bus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621808"/>
                  </a:ext>
                </a:extLst>
              </a:tr>
              <a:tr h="24963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857817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683977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 Total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50787"/>
                  </a:ext>
                </a:extLst>
              </a:tr>
              <a:tr h="24963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709640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7281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8398691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E0840C-6B67-44EB-A0FD-3B8FA357C7FB}"/>
              </a:ext>
            </a:extLst>
          </p:cNvPr>
          <p:cNvSpPr txBox="1"/>
          <p:nvPr/>
        </p:nvSpPr>
        <p:spPr>
          <a:xfrm>
            <a:off x="381000" y="457200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t Map – Buses YTD FY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-23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1143000" y="2057400"/>
          <a:ext cx="9525008" cy="3124198"/>
        </p:xfrm>
        <a:graphic>
          <a:graphicData uri="http://schemas.openxmlformats.org/drawingml/2006/table">
            <a:tbl>
              <a:tblPr/>
              <a:tblGrid>
                <a:gridCol w="1085945">
                  <a:extLst>
                    <a:ext uri="{9D8B030D-6E8A-4147-A177-3AD203B41FA5}">
                      <a16:colId xmlns:a16="http://schemas.microsoft.com/office/drawing/2014/main" val="2146585898"/>
                    </a:ext>
                  </a:extLst>
                </a:gridCol>
                <a:gridCol w="407230">
                  <a:extLst>
                    <a:ext uri="{9D8B030D-6E8A-4147-A177-3AD203B41FA5}">
                      <a16:colId xmlns:a16="http://schemas.microsoft.com/office/drawing/2014/main" val="172369818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3243273543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847595116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271912868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2957954889"/>
                    </a:ext>
                  </a:extLst>
                </a:gridCol>
                <a:gridCol w="645302">
                  <a:extLst>
                    <a:ext uri="{9D8B030D-6E8A-4147-A177-3AD203B41FA5}">
                      <a16:colId xmlns:a16="http://schemas.microsoft.com/office/drawing/2014/main" val="604781782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757291520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2827767563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3301948487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053792969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230745079"/>
                    </a:ext>
                  </a:extLst>
                </a:gridCol>
                <a:gridCol w="632772">
                  <a:extLst>
                    <a:ext uri="{9D8B030D-6E8A-4147-A177-3AD203B41FA5}">
                      <a16:colId xmlns:a16="http://schemas.microsoft.com/office/drawing/2014/main" val="1970677420"/>
                    </a:ext>
                  </a:extLst>
                </a:gridCol>
                <a:gridCol w="363374">
                  <a:extLst>
                    <a:ext uri="{9D8B030D-6E8A-4147-A177-3AD203B41FA5}">
                      <a16:colId xmlns:a16="http://schemas.microsoft.com/office/drawing/2014/main" val="3253995364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192530574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2007921246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105365681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1466159333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558653107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2247757013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3040962346"/>
                    </a:ext>
                  </a:extLst>
                </a:gridCol>
                <a:gridCol w="375905">
                  <a:extLst>
                    <a:ext uri="{9D8B030D-6E8A-4147-A177-3AD203B41FA5}">
                      <a16:colId xmlns:a16="http://schemas.microsoft.com/office/drawing/2014/main" val="2532668855"/>
                    </a:ext>
                  </a:extLst>
                </a:gridCol>
              </a:tblGrid>
              <a:tr h="5839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onamalle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ava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dapp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lore 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upu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dicherry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 Chenn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758040"/>
                  </a:ext>
                </a:extLst>
              </a:tr>
              <a:tr h="28190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V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872293"/>
                  </a:ext>
                </a:extLst>
              </a:tr>
              <a:tr h="26486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2940477"/>
                  </a:ext>
                </a:extLst>
              </a:tr>
              <a:tr h="28861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80166"/>
                  </a:ext>
                </a:extLst>
              </a:tr>
              <a:tr h="28190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V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333341"/>
                  </a:ext>
                </a:extLst>
              </a:tr>
              <a:tr h="28190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989534"/>
                  </a:ext>
                </a:extLst>
              </a:tr>
              <a:tr h="28861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846624"/>
                  </a:ext>
                </a:extLst>
              </a:tr>
              <a:tr h="28190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 Total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711151"/>
                  </a:ext>
                </a:extLst>
              </a:tr>
              <a:tr h="28190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513082"/>
                  </a:ext>
                </a:extLst>
              </a:tr>
              <a:tr h="28861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630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573545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BEF09E5-820A-46C7-B6D5-916AB3F5B342}"/>
              </a:ext>
            </a:extLst>
          </p:cNvPr>
          <p:cNvSpPr txBox="1"/>
          <p:nvPr/>
        </p:nvSpPr>
        <p:spPr>
          <a:xfrm>
            <a:off x="685800" y="304800"/>
            <a:ext cx="861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cket Analysis - Buse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650966" y="1295400"/>
          <a:ext cx="10591799" cy="2743198"/>
        </p:xfrm>
        <a:graphic>
          <a:graphicData uri="http://schemas.openxmlformats.org/drawingml/2006/table">
            <a:tbl>
              <a:tblPr/>
              <a:tblGrid>
                <a:gridCol w="501016">
                  <a:extLst>
                    <a:ext uri="{9D8B030D-6E8A-4147-A177-3AD203B41FA5}">
                      <a16:colId xmlns:a16="http://schemas.microsoft.com/office/drawing/2014/main" val="1570411112"/>
                    </a:ext>
                  </a:extLst>
                </a:gridCol>
                <a:gridCol w="1033346">
                  <a:extLst>
                    <a:ext uri="{9D8B030D-6E8A-4147-A177-3AD203B41FA5}">
                      <a16:colId xmlns:a16="http://schemas.microsoft.com/office/drawing/2014/main" val="3536482162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828389525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2928035460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1415220064"/>
                    </a:ext>
                  </a:extLst>
                </a:gridCol>
                <a:gridCol w="688898">
                  <a:extLst>
                    <a:ext uri="{9D8B030D-6E8A-4147-A177-3AD203B41FA5}">
                      <a16:colId xmlns:a16="http://schemas.microsoft.com/office/drawing/2014/main" val="122999031"/>
                    </a:ext>
                  </a:extLst>
                </a:gridCol>
                <a:gridCol w="1049003">
                  <a:extLst>
                    <a:ext uri="{9D8B030D-6E8A-4147-A177-3AD203B41FA5}">
                      <a16:colId xmlns:a16="http://schemas.microsoft.com/office/drawing/2014/main" val="2927942599"/>
                    </a:ext>
                  </a:extLst>
                </a:gridCol>
                <a:gridCol w="649755">
                  <a:extLst>
                    <a:ext uri="{9D8B030D-6E8A-4147-A177-3AD203B41FA5}">
                      <a16:colId xmlns:a16="http://schemas.microsoft.com/office/drawing/2014/main" val="2033364842"/>
                    </a:ext>
                  </a:extLst>
                </a:gridCol>
                <a:gridCol w="485359">
                  <a:extLst>
                    <a:ext uri="{9D8B030D-6E8A-4147-A177-3AD203B41FA5}">
                      <a16:colId xmlns:a16="http://schemas.microsoft.com/office/drawing/2014/main" val="358904718"/>
                    </a:ext>
                  </a:extLst>
                </a:gridCol>
                <a:gridCol w="587129">
                  <a:extLst>
                    <a:ext uri="{9D8B030D-6E8A-4147-A177-3AD203B41FA5}">
                      <a16:colId xmlns:a16="http://schemas.microsoft.com/office/drawing/2014/main" val="558287257"/>
                    </a:ext>
                  </a:extLst>
                </a:gridCol>
                <a:gridCol w="1041176">
                  <a:extLst>
                    <a:ext uri="{9D8B030D-6E8A-4147-A177-3AD203B41FA5}">
                      <a16:colId xmlns:a16="http://schemas.microsoft.com/office/drawing/2014/main" val="3502278272"/>
                    </a:ext>
                  </a:extLst>
                </a:gridCol>
                <a:gridCol w="681069">
                  <a:extLst>
                    <a:ext uri="{9D8B030D-6E8A-4147-A177-3AD203B41FA5}">
                      <a16:colId xmlns:a16="http://schemas.microsoft.com/office/drawing/2014/main" val="676480577"/>
                    </a:ext>
                  </a:extLst>
                </a:gridCol>
                <a:gridCol w="704555">
                  <a:extLst>
                    <a:ext uri="{9D8B030D-6E8A-4147-A177-3AD203B41FA5}">
                      <a16:colId xmlns:a16="http://schemas.microsoft.com/office/drawing/2014/main" val="1606479526"/>
                    </a:ext>
                  </a:extLst>
                </a:gridCol>
                <a:gridCol w="594957">
                  <a:extLst>
                    <a:ext uri="{9D8B030D-6E8A-4147-A177-3AD203B41FA5}">
                      <a16:colId xmlns:a16="http://schemas.microsoft.com/office/drawing/2014/main" val="3064542334"/>
                    </a:ext>
                  </a:extLst>
                </a:gridCol>
                <a:gridCol w="571472">
                  <a:extLst>
                    <a:ext uri="{9D8B030D-6E8A-4147-A177-3AD203B41FA5}">
                      <a16:colId xmlns:a16="http://schemas.microsoft.com/office/drawing/2014/main" val="3817601981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3308373312"/>
                    </a:ext>
                  </a:extLst>
                </a:gridCol>
              </a:tblGrid>
              <a:tr h="233398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 22  MDV &amp; ICV Buses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8153476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Coverage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956094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6675" marR="6675" marT="667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4648756"/>
                  </a:ext>
                </a:extLst>
              </a:tr>
              <a:tr h="330392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 PREFERE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OTION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31921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7609029"/>
                  </a:ext>
                </a:extLst>
              </a:tr>
              <a:tr h="3303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675935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229127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1439675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9675425"/>
                  </a:ext>
                </a:extLst>
              </a:tr>
              <a:tr h="33039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006712"/>
                  </a:ext>
                </a:extLst>
              </a:tr>
              <a:tr h="16873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96385"/>
                  </a:ext>
                </a:extLst>
              </a:tr>
              <a:tr h="16873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535935"/>
                  </a:ext>
                </a:extLst>
              </a:tr>
              <a:tr h="16873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991950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55320" y="4227180"/>
          <a:ext cx="10591796" cy="2630820"/>
        </p:xfrm>
        <a:graphic>
          <a:graphicData uri="http://schemas.openxmlformats.org/drawingml/2006/table">
            <a:tbl>
              <a:tblPr/>
              <a:tblGrid>
                <a:gridCol w="501016">
                  <a:extLst>
                    <a:ext uri="{9D8B030D-6E8A-4147-A177-3AD203B41FA5}">
                      <a16:colId xmlns:a16="http://schemas.microsoft.com/office/drawing/2014/main" val="2482624381"/>
                    </a:ext>
                  </a:extLst>
                </a:gridCol>
                <a:gridCol w="1033346">
                  <a:extLst>
                    <a:ext uri="{9D8B030D-6E8A-4147-A177-3AD203B41FA5}">
                      <a16:colId xmlns:a16="http://schemas.microsoft.com/office/drawing/2014/main" val="1562813060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585500232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2004867991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141765105"/>
                    </a:ext>
                  </a:extLst>
                </a:gridCol>
                <a:gridCol w="688898">
                  <a:extLst>
                    <a:ext uri="{9D8B030D-6E8A-4147-A177-3AD203B41FA5}">
                      <a16:colId xmlns:a16="http://schemas.microsoft.com/office/drawing/2014/main" val="646962660"/>
                    </a:ext>
                  </a:extLst>
                </a:gridCol>
                <a:gridCol w="1049002">
                  <a:extLst>
                    <a:ext uri="{9D8B030D-6E8A-4147-A177-3AD203B41FA5}">
                      <a16:colId xmlns:a16="http://schemas.microsoft.com/office/drawing/2014/main" val="2242074986"/>
                    </a:ext>
                  </a:extLst>
                </a:gridCol>
                <a:gridCol w="649755">
                  <a:extLst>
                    <a:ext uri="{9D8B030D-6E8A-4147-A177-3AD203B41FA5}">
                      <a16:colId xmlns:a16="http://schemas.microsoft.com/office/drawing/2014/main" val="2782293440"/>
                    </a:ext>
                  </a:extLst>
                </a:gridCol>
                <a:gridCol w="485359">
                  <a:extLst>
                    <a:ext uri="{9D8B030D-6E8A-4147-A177-3AD203B41FA5}">
                      <a16:colId xmlns:a16="http://schemas.microsoft.com/office/drawing/2014/main" val="1147322930"/>
                    </a:ext>
                  </a:extLst>
                </a:gridCol>
                <a:gridCol w="587129">
                  <a:extLst>
                    <a:ext uri="{9D8B030D-6E8A-4147-A177-3AD203B41FA5}">
                      <a16:colId xmlns:a16="http://schemas.microsoft.com/office/drawing/2014/main" val="2553460409"/>
                    </a:ext>
                  </a:extLst>
                </a:gridCol>
                <a:gridCol w="1041175">
                  <a:extLst>
                    <a:ext uri="{9D8B030D-6E8A-4147-A177-3AD203B41FA5}">
                      <a16:colId xmlns:a16="http://schemas.microsoft.com/office/drawing/2014/main" val="1090574189"/>
                    </a:ext>
                  </a:extLst>
                </a:gridCol>
                <a:gridCol w="681069">
                  <a:extLst>
                    <a:ext uri="{9D8B030D-6E8A-4147-A177-3AD203B41FA5}">
                      <a16:colId xmlns:a16="http://schemas.microsoft.com/office/drawing/2014/main" val="3251323075"/>
                    </a:ext>
                  </a:extLst>
                </a:gridCol>
                <a:gridCol w="704554">
                  <a:extLst>
                    <a:ext uri="{9D8B030D-6E8A-4147-A177-3AD203B41FA5}">
                      <a16:colId xmlns:a16="http://schemas.microsoft.com/office/drawing/2014/main" val="3937792883"/>
                    </a:ext>
                  </a:extLst>
                </a:gridCol>
                <a:gridCol w="594957">
                  <a:extLst>
                    <a:ext uri="{9D8B030D-6E8A-4147-A177-3AD203B41FA5}">
                      <a16:colId xmlns:a16="http://schemas.microsoft.com/office/drawing/2014/main" val="1841686751"/>
                    </a:ext>
                  </a:extLst>
                </a:gridCol>
                <a:gridCol w="571472">
                  <a:extLst>
                    <a:ext uri="{9D8B030D-6E8A-4147-A177-3AD203B41FA5}">
                      <a16:colId xmlns:a16="http://schemas.microsoft.com/office/drawing/2014/main" val="3007069192"/>
                    </a:ext>
                  </a:extLst>
                </a:gridCol>
                <a:gridCol w="501016">
                  <a:extLst>
                    <a:ext uri="{9D8B030D-6E8A-4147-A177-3AD203B41FA5}">
                      <a16:colId xmlns:a16="http://schemas.microsoft.com/office/drawing/2014/main" val="1891684197"/>
                    </a:ext>
                  </a:extLst>
                </a:gridCol>
              </a:tblGrid>
              <a:tr h="244656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Nov'22   MDV &amp; ICV Buses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4413008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Coverage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279496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6675" marR="6675" marT="667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0524736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 PREFERE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OTION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220707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7623057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5477789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766124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6713546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6912447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2337702"/>
                  </a:ext>
                </a:extLst>
              </a:tr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4273696"/>
                  </a:ext>
                </a:extLst>
              </a:tr>
              <a:tr h="1856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921475"/>
                  </a:ext>
                </a:extLst>
              </a:tr>
              <a:tr h="1856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7641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54806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49F5CDE-9EC6-434A-B22F-E2C27804B9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2071437"/>
            <a:ext cx="7772400" cy="1102519"/>
          </a:xfrm>
        </p:spPr>
        <p:txBody>
          <a:bodyPr/>
          <a:lstStyle/>
          <a:p>
            <a:r>
              <a:rPr lang="en-US" dirty="0"/>
              <a:t>Business review  </a:t>
            </a:r>
            <a:r>
              <a:rPr lang="en-US" dirty="0" smtClean="0"/>
              <a:t>Nov’22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&amp;M - Chennai </a:t>
            </a:r>
          </a:p>
        </p:txBody>
      </p:sp>
      <p:pic>
        <p:nvPicPr>
          <p:cNvPr id="5" name="Picture 3" descr="C:\Users\roshansingh.sikarwar\Pictures\2012-05-12 talchar mines\talchar mines 158.JPG">
            <a:extLst>
              <a:ext uri="{FF2B5EF4-FFF2-40B4-BE49-F238E27FC236}">
                <a16:creationId xmlns:a16="http://schemas.microsoft.com/office/drawing/2014/main" id="{038F8694-375D-4D75-8C26-723114BFD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150" y="3429001"/>
            <a:ext cx="2860342" cy="2145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1BDC251C-081A-4BE8-B27B-91FCEB103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0" y="3173957"/>
            <a:ext cx="3686650" cy="240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4" descr="C:\Users\jaishankar.alm\Pictures\20141217_135408.jpg">
            <a:extLst>
              <a:ext uri="{FF2B5EF4-FFF2-40B4-BE49-F238E27FC236}">
                <a16:creationId xmlns:a16="http://schemas.microsoft.com/office/drawing/2014/main" id="{F319F5EF-4144-45B2-B12C-EE0512211B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7659" y="3429001"/>
            <a:ext cx="2860342" cy="2145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5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765C968-7808-4785-B3C6-A95C1FC1339F}"/>
              </a:ext>
            </a:extLst>
          </p:cNvPr>
          <p:cNvSpPr txBox="1"/>
          <p:nvPr/>
        </p:nvSpPr>
        <p:spPr>
          <a:xfrm>
            <a:off x="228600" y="238780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ppe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28600" y="1250746"/>
          <a:ext cx="11867605" cy="5398250"/>
        </p:xfrm>
        <a:graphic>
          <a:graphicData uri="http://schemas.openxmlformats.org/drawingml/2006/table">
            <a:tbl>
              <a:tblPr/>
              <a:tblGrid>
                <a:gridCol w="1301749">
                  <a:extLst>
                    <a:ext uri="{9D8B030D-6E8A-4147-A177-3AD203B41FA5}">
                      <a16:colId xmlns:a16="http://schemas.microsoft.com/office/drawing/2014/main" val="2319647569"/>
                    </a:ext>
                  </a:extLst>
                </a:gridCol>
                <a:gridCol w="1058755">
                  <a:extLst>
                    <a:ext uri="{9D8B030D-6E8A-4147-A177-3AD203B41FA5}">
                      <a16:colId xmlns:a16="http://schemas.microsoft.com/office/drawing/2014/main" val="2738920499"/>
                    </a:ext>
                  </a:extLst>
                </a:gridCol>
                <a:gridCol w="1184590">
                  <a:extLst>
                    <a:ext uri="{9D8B030D-6E8A-4147-A177-3AD203B41FA5}">
                      <a16:colId xmlns:a16="http://schemas.microsoft.com/office/drawing/2014/main" val="724163514"/>
                    </a:ext>
                  </a:extLst>
                </a:gridCol>
                <a:gridCol w="937260">
                  <a:extLst>
                    <a:ext uri="{9D8B030D-6E8A-4147-A177-3AD203B41FA5}">
                      <a16:colId xmlns:a16="http://schemas.microsoft.com/office/drawing/2014/main" val="95156294"/>
                    </a:ext>
                  </a:extLst>
                </a:gridCol>
                <a:gridCol w="1110825">
                  <a:extLst>
                    <a:ext uri="{9D8B030D-6E8A-4147-A177-3AD203B41FA5}">
                      <a16:colId xmlns:a16="http://schemas.microsoft.com/office/drawing/2014/main" val="427520001"/>
                    </a:ext>
                  </a:extLst>
                </a:gridCol>
                <a:gridCol w="1110825">
                  <a:extLst>
                    <a:ext uri="{9D8B030D-6E8A-4147-A177-3AD203B41FA5}">
                      <a16:colId xmlns:a16="http://schemas.microsoft.com/office/drawing/2014/main" val="1176579822"/>
                    </a:ext>
                  </a:extLst>
                </a:gridCol>
                <a:gridCol w="976311">
                  <a:extLst>
                    <a:ext uri="{9D8B030D-6E8A-4147-A177-3AD203B41FA5}">
                      <a16:colId xmlns:a16="http://schemas.microsoft.com/office/drawing/2014/main" val="125334233"/>
                    </a:ext>
                  </a:extLst>
                </a:gridCol>
                <a:gridCol w="820101">
                  <a:extLst>
                    <a:ext uri="{9D8B030D-6E8A-4147-A177-3AD203B41FA5}">
                      <a16:colId xmlns:a16="http://schemas.microsoft.com/office/drawing/2014/main" val="3971670748"/>
                    </a:ext>
                  </a:extLst>
                </a:gridCol>
                <a:gridCol w="1110825">
                  <a:extLst>
                    <a:ext uri="{9D8B030D-6E8A-4147-A177-3AD203B41FA5}">
                      <a16:colId xmlns:a16="http://schemas.microsoft.com/office/drawing/2014/main" val="2399129711"/>
                    </a:ext>
                  </a:extLst>
                </a:gridCol>
                <a:gridCol w="1128182">
                  <a:extLst>
                    <a:ext uri="{9D8B030D-6E8A-4147-A177-3AD203B41FA5}">
                      <a16:colId xmlns:a16="http://schemas.microsoft.com/office/drawing/2014/main" val="2653108524"/>
                    </a:ext>
                  </a:extLst>
                </a:gridCol>
                <a:gridCol w="1128182">
                  <a:extLst>
                    <a:ext uri="{9D8B030D-6E8A-4147-A177-3AD203B41FA5}">
                      <a16:colId xmlns:a16="http://schemas.microsoft.com/office/drawing/2014/main" val="47598191"/>
                    </a:ext>
                  </a:extLst>
                </a:gridCol>
              </a:tblGrid>
              <a:tr h="49075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PB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the Mon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52719"/>
                  </a:ext>
                </a:extLst>
              </a:tr>
              <a:tr h="4907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807375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323920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962982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847137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128607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789514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617879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076843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339377"/>
                  </a:ext>
                </a:extLst>
              </a:tr>
              <a:tr h="490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644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6212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t map - YTD Nov’2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01596" y="1264920"/>
          <a:ext cx="11955420" cy="5527768"/>
        </p:xfrm>
        <a:graphic>
          <a:graphicData uri="http://schemas.openxmlformats.org/drawingml/2006/table">
            <a:tbl>
              <a:tblPr/>
              <a:tblGrid>
                <a:gridCol w="1400812">
                  <a:extLst>
                    <a:ext uri="{9D8B030D-6E8A-4147-A177-3AD203B41FA5}">
                      <a16:colId xmlns:a16="http://schemas.microsoft.com/office/drawing/2014/main" val="1977780922"/>
                    </a:ext>
                  </a:extLst>
                </a:gridCol>
                <a:gridCol w="525306">
                  <a:extLst>
                    <a:ext uri="{9D8B030D-6E8A-4147-A177-3AD203B41FA5}">
                      <a16:colId xmlns:a16="http://schemas.microsoft.com/office/drawing/2014/main" val="1085871166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379855892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406105414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502496550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287027495"/>
                    </a:ext>
                  </a:extLst>
                </a:gridCol>
                <a:gridCol w="832405">
                  <a:extLst>
                    <a:ext uri="{9D8B030D-6E8A-4147-A177-3AD203B41FA5}">
                      <a16:colId xmlns:a16="http://schemas.microsoft.com/office/drawing/2014/main" val="3336868791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2431951315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4223842783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4190863699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2053062631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404133421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770712756"/>
                    </a:ext>
                  </a:extLst>
                </a:gridCol>
                <a:gridCol w="468733">
                  <a:extLst>
                    <a:ext uri="{9D8B030D-6E8A-4147-A177-3AD203B41FA5}">
                      <a16:colId xmlns:a16="http://schemas.microsoft.com/office/drawing/2014/main" val="1218211763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359405616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583750258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062320995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3384456575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2542064826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14326780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1309240179"/>
                    </a:ext>
                  </a:extLst>
                </a:gridCol>
                <a:gridCol w="484898">
                  <a:extLst>
                    <a:ext uri="{9D8B030D-6E8A-4147-A177-3AD203B41FA5}">
                      <a16:colId xmlns:a16="http://schemas.microsoft.com/office/drawing/2014/main" val="2524730277"/>
                    </a:ext>
                  </a:extLst>
                </a:gridCol>
              </a:tblGrid>
              <a:tr h="66608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onamalle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avaram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dappai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lore 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upuram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dicherry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 Chennai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9998614"/>
                  </a:ext>
                </a:extLst>
              </a:tr>
              <a:tr h="32156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2 Tipper 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843200"/>
                  </a:ext>
                </a:extLst>
              </a:tr>
              <a:tr h="321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2152842"/>
                  </a:ext>
                </a:extLst>
              </a:tr>
              <a:tr h="329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679762"/>
                  </a:ext>
                </a:extLst>
              </a:tr>
              <a:tr h="32156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 Tipper 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945896"/>
                  </a:ext>
                </a:extLst>
              </a:tr>
              <a:tr h="321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5287564"/>
                  </a:ext>
                </a:extLst>
              </a:tr>
              <a:tr h="329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79146"/>
                  </a:ext>
                </a:extLst>
              </a:tr>
              <a:tr h="32156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4 Tipper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70990"/>
                  </a:ext>
                </a:extLst>
              </a:tr>
              <a:tr h="321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279701"/>
                  </a:ext>
                </a:extLst>
              </a:tr>
              <a:tr h="329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418569"/>
                  </a:ext>
                </a:extLst>
              </a:tr>
              <a:tr h="32156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2 Tipper 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087827"/>
                  </a:ext>
                </a:extLst>
              </a:tr>
              <a:tr h="321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9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30199"/>
                  </a:ext>
                </a:extLst>
              </a:tr>
              <a:tr h="329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015738"/>
                  </a:ext>
                </a:extLst>
              </a:tr>
              <a:tr h="32156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pper Total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151774"/>
                  </a:ext>
                </a:extLst>
              </a:tr>
              <a:tr h="321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5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2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7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6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8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3998384"/>
                  </a:ext>
                </a:extLst>
              </a:tr>
              <a:tr h="329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69" marR="6269" marT="6269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6269" marR="6269" marT="62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249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74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944F460-30C7-4E8F-BD75-9B071AE8E359}"/>
              </a:ext>
            </a:extLst>
          </p:cNvPr>
          <p:cNvSpPr txBox="1"/>
          <p:nvPr/>
        </p:nvSpPr>
        <p:spPr>
          <a:xfrm>
            <a:off x="228600" y="304800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x2 Tippe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17566" y="1302998"/>
          <a:ext cx="11952510" cy="5319875"/>
        </p:xfrm>
        <a:graphic>
          <a:graphicData uri="http://schemas.openxmlformats.org/drawingml/2006/table">
            <a:tbl>
              <a:tblPr/>
              <a:tblGrid>
                <a:gridCol w="1641366">
                  <a:extLst>
                    <a:ext uri="{9D8B030D-6E8A-4147-A177-3AD203B41FA5}">
                      <a16:colId xmlns:a16="http://schemas.microsoft.com/office/drawing/2014/main" val="4175348618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4235103320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1947107801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2367344238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1156350204"/>
                    </a:ext>
                  </a:extLst>
                </a:gridCol>
                <a:gridCol w="1115288">
                  <a:extLst>
                    <a:ext uri="{9D8B030D-6E8A-4147-A177-3AD203B41FA5}">
                      <a16:colId xmlns:a16="http://schemas.microsoft.com/office/drawing/2014/main" val="2235014776"/>
                    </a:ext>
                  </a:extLst>
                </a:gridCol>
                <a:gridCol w="1115288">
                  <a:extLst>
                    <a:ext uri="{9D8B030D-6E8A-4147-A177-3AD203B41FA5}">
                      <a16:colId xmlns:a16="http://schemas.microsoft.com/office/drawing/2014/main" val="2726828478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1404263627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3434381604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1784853"/>
                    </a:ext>
                  </a:extLst>
                </a:gridCol>
                <a:gridCol w="1010071">
                  <a:extLst>
                    <a:ext uri="{9D8B030D-6E8A-4147-A177-3AD203B41FA5}">
                      <a16:colId xmlns:a16="http://schemas.microsoft.com/office/drawing/2014/main" val="1681380746"/>
                    </a:ext>
                  </a:extLst>
                </a:gridCol>
              </a:tblGrid>
              <a:tr h="48362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PB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the Mon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8182072"/>
                  </a:ext>
                </a:extLst>
              </a:tr>
              <a:tr h="4836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362560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298498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275246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423256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1736953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759071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239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538984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249320"/>
                  </a:ext>
                </a:extLst>
              </a:tr>
              <a:tr h="483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300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91696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0" y="152400"/>
            <a:ext cx="799288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Offtake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4779127"/>
              </p:ext>
            </p:extLst>
          </p:nvPr>
        </p:nvGraphicFramePr>
        <p:xfrm>
          <a:off x="152400" y="1371600"/>
          <a:ext cx="11739563" cy="5176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9" name="Worksheet" r:id="rId3" imgW="12210939" imgH="5384917" progId="Excel.Sheet.12">
                  <p:embed/>
                </p:oleObj>
              </mc:Choice>
              <mc:Fallback>
                <p:oleObj name="Worksheet" r:id="rId3" imgW="12210939" imgH="5384917" progId="Excel.Sheet.12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400" y="1371600"/>
                        <a:ext cx="11739563" cy="5176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0697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AEA04F-1B1C-49D8-AD7E-776BB1D2D9DE}"/>
              </a:ext>
            </a:extLst>
          </p:cNvPr>
          <p:cNvSpPr txBox="1"/>
          <p:nvPr/>
        </p:nvSpPr>
        <p:spPr>
          <a:xfrm>
            <a:off x="152400" y="228600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x4 Tipper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52400" y="1320687"/>
          <a:ext cx="11760925" cy="5249931"/>
        </p:xfrm>
        <a:graphic>
          <a:graphicData uri="http://schemas.openxmlformats.org/drawingml/2006/table">
            <a:tbl>
              <a:tblPr/>
              <a:tblGrid>
                <a:gridCol w="1477923">
                  <a:extLst>
                    <a:ext uri="{9D8B030D-6E8A-4147-A177-3AD203B41FA5}">
                      <a16:colId xmlns:a16="http://schemas.microsoft.com/office/drawing/2014/main" val="4289327301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4208313144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3936494269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2294622743"/>
                    </a:ext>
                  </a:extLst>
                </a:gridCol>
                <a:gridCol w="1144869">
                  <a:extLst>
                    <a:ext uri="{9D8B030D-6E8A-4147-A177-3AD203B41FA5}">
                      <a16:colId xmlns:a16="http://schemas.microsoft.com/office/drawing/2014/main" val="1768077523"/>
                    </a:ext>
                  </a:extLst>
                </a:gridCol>
                <a:gridCol w="1144869">
                  <a:extLst>
                    <a:ext uri="{9D8B030D-6E8A-4147-A177-3AD203B41FA5}">
                      <a16:colId xmlns:a16="http://schemas.microsoft.com/office/drawing/2014/main" val="245842466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3132791610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1414812829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3339383506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3981064927"/>
                    </a:ext>
                  </a:extLst>
                </a:gridCol>
                <a:gridCol w="999158">
                  <a:extLst>
                    <a:ext uri="{9D8B030D-6E8A-4147-A177-3AD203B41FA5}">
                      <a16:colId xmlns:a16="http://schemas.microsoft.com/office/drawing/2014/main" val="587805609"/>
                    </a:ext>
                  </a:extLst>
                </a:gridCol>
              </a:tblGrid>
              <a:tr h="46366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PB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the Mon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4486149"/>
                  </a:ext>
                </a:extLst>
              </a:tr>
              <a:tr h="4636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888272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689922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8988"/>
                  </a:ext>
                </a:extLst>
              </a:tr>
              <a:tr h="523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426110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603511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44376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202436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510695"/>
                  </a:ext>
                </a:extLst>
              </a:tr>
              <a:tr h="553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94092"/>
                  </a:ext>
                </a:extLst>
              </a:tr>
              <a:tr h="463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3958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9280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8301C0A-D47D-43B3-87FA-2D5EE9AFD59C}"/>
              </a:ext>
            </a:extLst>
          </p:cNvPr>
          <p:cNvSpPr txBox="1"/>
          <p:nvPr/>
        </p:nvSpPr>
        <p:spPr>
          <a:xfrm>
            <a:off x="114300" y="304800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x4 Tipper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14301" y="1214843"/>
          <a:ext cx="11942713" cy="5525592"/>
        </p:xfrm>
        <a:graphic>
          <a:graphicData uri="http://schemas.openxmlformats.org/drawingml/2006/table">
            <a:tbl>
              <a:tblPr/>
              <a:tblGrid>
                <a:gridCol w="1519983">
                  <a:extLst>
                    <a:ext uri="{9D8B030D-6E8A-4147-A177-3AD203B41FA5}">
                      <a16:colId xmlns:a16="http://schemas.microsoft.com/office/drawing/2014/main" val="4234144837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2537694023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2972950347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3696511309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1368349605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3054806003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1540372082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544979337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4010830170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2677550195"/>
                    </a:ext>
                  </a:extLst>
                </a:gridCol>
                <a:gridCol w="1042273">
                  <a:extLst>
                    <a:ext uri="{9D8B030D-6E8A-4147-A177-3AD203B41FA5}">
                      <a16:colId xmlns:a16="http://schemas.microsoft.com/office/drawing/2014/main" val="3101538308"/>
                    </a:ext>
                  </a:extLst>
                </a:gridCol>
              </a:tblGrid>
              <a:tr h="44841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PB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 MS</a:t>
                      </a: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the Mon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762486"/>
                  </a:ext>
                </a:extLst>
              </a:tr>
              <a:tr h="4484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209863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105764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700424"/>
                  </a:ext>
                </a:extLst>
              </a:tr>
              <a:tr h="679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05936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167580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50%</a:t>
                      </a:r>
                      <a:endParaRPr lang="en-US" sz="2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  <a:endParaRPr lang="en-US" sz="2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657554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112352"/>
                  </a:ext>
                </a:extLst>
              </a:tr>
              <a:tr h="4484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561053"/>
                  </a:ext>
                </a:extLst>
              </a:tr>
              <a:tr h="56413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005758"/>
                  </a:ext>
                </a:extLst>
              </a:tr>
              <a:tr h="6943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659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32568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FD8CA58-1D21-40F3-8D8D-6BFD4D1ADE6B}"/>
              </a:ext>
            </a:extLst>
          </p:cNvPr>
          <p:cNvSpPr txBox="1"/>
          <p:nvPr/>
        </p:nvSpPr>
        <p:spPr>
          <a:xfrm>
            <a:off x="0" y="304800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x4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ppe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60744" y="1262449"/>
          <a:ext cx="11909333" cy="5360419"/>
        </p:xfrm>
        <a:graphic>
          <a:graphicData uri="http://schemas.openxmlformats.org/drawingml/2006/table">
            <a:tbl>
              <a:tblPr/>
              <a:tblGrid>
                <a:gridCol w="1515733">
                  <a:extLst>
                    <a:ext uri="{9D8B030D-6E8A-4147-A177-3AD203B41FA5}">
                      <a16:colId xmlns:a16="http://schemas.microsoft.com/office/drawing/2014/main" val="2426159695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3847924357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1358526721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2799851257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1184307732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2935327162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3058591564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3672910092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2449506381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1699181700"/>
                    </a:ext>
                  </a:extLst>
                </a:gridCol>
                <a:gridCol w="1039360">
                  <a:extLst>
                    <a:ext uri="{9D8B030D-6E8A-4147-A177-3AD203B41FA5}">
                      <a16:colId xmlns:a16="http://schemas.microsoft.com/office/drawing/2014/main" val="1224739952"/>
                    </a:ext>
                  </a:extLst>
                </a:gridCol>
              </a:tblGrid>
              <a:tr h="46809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9525" marR="9525" marT="9525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PB MS</a:t>
                      </a:r>
                    </a:p>
                  </a:txBody>
                  <a:tcPr marL="9525" marR="9525" marT="9525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 MS</a:t>
                      </a:r>
                    </a:p>
                  </a:txBody>
                  <a:tcPr marL="9525" marR="9525" marT="9525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the Mon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7050915"/>
                  </a:ext>
                </a:extLst>
              </a:tr>
              <a:tr h="5586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697004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488780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843312"/>
                  </a:ext>
                </a:extLst>
              </a:tr>
              <a:tr h="528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452468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145829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2400" b="0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%</a:t>
                      </a:r>
                      <a:endParaRPr lang="en-US" sz="2400" b="0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  <a:endParaRPr lang="en-US" sz="2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488171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7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574557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734578"/>
                  </a:ext>
                </a:extLst>
              </a:tr>
              <a:tr h="528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  <a:endParaRPr lang="en-US" sz="2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US" sz="2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  <a:endParaRPr lang="en-US" sz="2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57683"/>
                  </a:ext>
                </a:extLst>
              </a:tr>
              <a:tr h="468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  <a:endParaRPr lang="en-US" sz="2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2734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57259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4F925D-8992-4FEA-80B1-86102B1DDA36}"/>
              </a:ext>
            </a:extLst>
          </p:cNvPr>
          <p:cNvSpPr txBox="1"/>
          <p:nvPr/>
        </p:nvSpPr>
        <p:spPr>
          <a:xfrm>
            <a:off x="3657600" y="3429000"/>
            <a:ext cx="487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ng Haulage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040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X2 Haulage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3382641"/>
              </p:ext>
            </p:extLst>
          </p:nvPr>
        </p:nvGraphicFramePr>
        <p:xfrm>
          <a:off x="609600" y="1662112"/>
          <a:ext cx="10715625" cy="4586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7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662112"/>
                        <a:ext cx="10715625" cy="45862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10031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X2 Haulage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6399300"/>
              </p:ext>
            </p:extLst>
          </p:nvPr>
        </p:nvGraphicFramePr>
        <p:xfrm>
          <a:off x="585788" y="1687513"/>
          <a:ext cx="10715625" cy="458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1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85788" y="1687513"/>
                        <a:ext cx="10715625" cy="458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95306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X2 Haulage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3816376"/>
              </p:ext>
            </p:extLst>
          </p:nvPr>
        </p:nvGraphicFramePr>
        <p:xfrm>
          <a:off x="609600" y="1600200"/>
          <a:ext cx="10715625" cy="4586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5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600200"/>
                        <a:ext cx="10715625" cy="45862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40415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X2 Haulage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9923646"/>
              </p:ext>
            </p:extLst>
          </p:nvPr>
        </p:nvGraphicFramePr>
        <p:xfrm>
          <a:off x="609600" y="1619250"/>
          <a:ext cx="10715625" cy="4586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9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619250"/>
                        <a:ext cx="10715625" cy="45862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05292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0 T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5705880"/>
              </p:ext>
            </p:extLst>
          </p:nvPr>
        </p:nvGraphicFramePr>
        <p:xfrm>
          <a:off x="585788" y="1687513"/>
          <a:ext cx="10715625" cy="458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33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85788" y="1687513"/>
                        <a:ext cx="10715625" cy="458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20642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6 T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1029903"/>
              </p:ext>
            </p:extLst>
          </p:nvPr>
        </p:nvGraphicFramePr>
        <p:xfrm>
          <a:off x="585788" y="1687513"/>
          <a:ext cx="10715625" cy="458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7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85788" y="1687513"/>
                        <a:ext cx="10715625" cy="458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73259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 Retail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1541800"/>
              </p:ext>
            </p:extLst>
          </p:nvPr>
        </p:nvGraphicFramePr>
        <p:xfrm>
          <a:off x="76200" y="1295400"/>
          <a:ext cx="12021568" cy="5180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3" name="Worksheet" r:id="rId3" imgW="12261838" imgH="5283038" progId="Excel.Sheet.12">
                  <p:embed/>
                </p:oleObj>
              </mc:Choice>
              <mc:Fallback>
                <p:oleObj name="Worksheet" r:id="rId3" imgW="12261838" imgH="5283038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6200" y="1295400"/>
                        <a:ext cx="12021568" cy="5180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6786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5 T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9550886"/>
              </p:ext>
            </p:extLst>
          </p:nvPr>
        </p:nvGraphicFramePr>
        <p:xfrm>
          <a:off x="585788" y="1600200"/>
          <a:ext cx="10715625" cy="4586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1" name="Worksheet" r:id="rId3" imgW="6870527" imgH="2940219" progId="Excel.Sheet.12">
                  <p:embed/>
                </p:oleObj>
              </mc:Choice>
              <mc:Fallback>
                <p:oleObj name="Worksheet" r:id="rId3" imgW="6870527" imgH="2940219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85788" y="1600200"/>
                        <a:ext cx="10715625" cy="4586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968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34F925D-8992-4FEA-80B1-86102B1DDA36}"/>
              </a:ext>
            </a:extLst>
          </p:cNvPr>
          <p:cNvSpPr txBox="1"/>
          <p:nvPr/>
        </p:nvSpPr>
        <p:spPr>
          <a:xfrm>
            <a:off x="3657600" y="3429000"/>
            <a:ext cx="487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CV</a:t>
            </a:r>
            <a:endParaRPr lang="en-US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2055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 Goods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61475695"/>
              </p:ext>
            </p:extLst>
          </p:nvPr>
        </p:nvGraphicFramePr>
        <p:xfrm>
          <a:off x="609600" y="1600200"/>
          <a:ext cx="10667043" cy="472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6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600200"/>
                        <a:ext cx="10667043" cy="472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5780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0T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9311021"/>
              </p:ext>
            </p:extLst>
          </p:nvPr>
        </p:nvGraphicFramePr>
        <p:xfrm>
          <a:off x="609600" y="1524000"/>
          <a:ext cx="10667043" cy="472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99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7043" cy="472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98749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5240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2T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94557390"/>
              </p:ext>
            </p:extLst>
          </p:nvPr>
        </p:nvGraphicFramePr>
        <p:xfrm>
          <a:off x="609600" y="1524000"/>
          <a:ext cx="10667043" cy="472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24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7043" cy="472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9920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5T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0054477"/>
              </p:ext>
            </p:extLst>
          </p:nvPr>
        </p:nvGraphicFramePr>
        <p:xfrm>
          <a:off x="609600" y="1524000"/>
          <a:ext cx="10667043" cy="472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9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7043" cy="472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8131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cket Analysis – ICV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429709"/>
              </p:ext>
            </p:extLst>
          </p:nvPr>
        </p:nvGraphicFramePr>
        <p:xfrm>
          <a:off x="1143000" y="1295400"/>
          <a:ext cx="9753602" cy="2564752"/>
        </p:xfrm>
        <a:graphic>
          <a:graphicData uri="http://schemas.openxmlformats.org/drawingml/2006/table">
            <a:tbl>
              <a:tblPr/>
              <a:tblGrid>
                <a:gridCol w="566967">
                  <a:extLst>
                    <a:ext uri="{9D8B030D-6E8A-4147-A177-3AD203B41FA5}">
                      <a16:colId xmlns:a16="http://schemas.microsoft.com/office/drawing/2014/main" val="265978366"/>
                    </a:ext>
                  </a:extLst>
                </a:gridCol>
                <a:gridCol w="1275674">
                  <a:extLst>
                    <a:ext uri="{9D8B030D-6E8A-4147-A177-3AD203B41FA5}">
                      <a16:colId xmlns:a16="http://schemas.microsoft.com/office/drawing/2014/main" val="1583087290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169340595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453182813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909713669"/>
                    </a:ext>
                  </a:extLst>
                </a:gridCol>
                <a:gridCol w="859309">
                  <a:extLst>
                    <a:ext uri="{9D8B030D-6E8A-4147-A177-3AD203B41FA5}">
                      <a16:colId xmlns:a16="http://schemas.microsoft.com/office/drawing/2014/main" val="929556941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579955249"/>
                    </a:ext>
                  </a:extLst>
                </a:gridCol>
                <a:gridCol w="637838">
                  <a:extLst>
                    <a:ext uri="{9D8B030D-6E8A-4147-A177-3AD203B41FA5}">
                      <a16:colId xmlns:a16="http://schemas.microsoft.com/office/drawing/2014/main" val="1968884135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278680778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3267142134"/>
                    </a:ext>
                  </a:extLst>
                </a:gridCol>
                <a:gridCol w="637838">
                  <a:extLst>
                    <a:ext uri="{9D8B030D-6E8A-4147-A177-3AD203B41FA5}">
                      <a16:colId xmlns:a16="http://schemas.microsoft.com/office/drawing/2014/main" val="2585743606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569368252"/>
                    </a:ext>
                  </a:extLst>
                </a:gridCol>
                <a:gridCol w="673273">
                  <a:extLst>
                    <a:ext uri="{9D8B030D-6E8A-4147-A177-3AD203B41FA5}">
                      <a16:colId xmlns:a16="http://schemas.microsoft.com/office/drawing/2014/main" val="3376573696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1918275392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49114739"/>
                    </a:ext>
                  </a:extLst>
                </a:gridCol>
              </a:tblGrid>
              <a:tr h="185980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' 22</a:t>
                      </a:r>
                    </a:p>
                  </a:txBody>
                  <a:tcPr marL="8856" marR="8856" marT="88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959473"/>
                  </a:ext>
                </a:extLst>
              </a:tr>
              <a:tr h="18598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MS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 outlet wis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80845"/>
                  </a:ext>
                </a:extLst>
              </a:tr>
              <a:tr h="1859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but not found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and Found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ayed Known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ught and Lost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4266713"/>
                  </a:ext>
                </a:extLst>
              </a:tr>
              <a:tr h="3329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9915101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718579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372646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069084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140024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908900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98167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825626"/>
                  </a:ext>
                </a:extLst>
              </a:tr>
              <a:tr h="18598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946744"/>
                  </a:ext>
                </a:extLst>
              </a:tr>
              <a:tr h="18598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9073471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517450"/>
              </p:ext>
            </p:extLst>
          </p:nvPr>
        </p:nvGraphicFramePr>
        <p:xfrm>
          <a:off x="1141863" y="4114800"/>
          <a:ext cx="9753602" cy="2564752"/>
        </p:xfrm>
        <a:graphic>
          <a:graphicData uri="http://schemas.openxmlformats.org/drawingml/2006/table">
            <a:tbl>
              <a:tblPr/>
              <a:tblGrid>
                <a:gridCol w="566967">
                  <a:extLst>
                    <a:ext uri="{9D8B030D-6E8A-4147-A177-3AD203B41FA5}">
                      <a16:colId xmlns:a16="http://schemas.microsoft.com/office/drawing/2014/main" val="3600439073"/>
                    </a:ext>
                  </a:extLst>
                </a:gridCol>
                <a:gridCol w="1275674">
                  <a:extLst>
                    <a:ext uri="{9D8B030D-6E8A-4147-A177-3AD203B41FA5}">
                      <a16:colId xmlns:a16="http://schemas.microsoft.com/office/drawing/2014/main" val="3488247793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3515150272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567012179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1927510743"/>
                    </a:ext>
                  </a:extLst>
                </a:gridCol>
                <a:gridCol w="859309">
                  <a:extLst>
                    <a:ext uri="{9D8B030D-6E8A-4147-A177-3AD203B41FA5}">
                      <a16:colId xmlns:a16="http://schemas.microsoft.com/office/drawing/2014/main" val="3227595237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1198494650"/>
                    </a:ext>
                  </a:extLst>
                </a:gridCol>
                <a:gridCol w="637838">
                  <a:extLst>
                    <a:ext uri="{9D8B030D-6E8A-4147-A177-3AD203B41FA5}">
                      <a16:colId xmlns:a16="http://schemas.microsoft.com/office/drawing/2014/main" val="4176641253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486055257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487512697"/>
                    </a:ext>
                  </a:extLst>
                </a:gridCol>
                <a:gridCol w="637838">
                  <a:extLst>
                    <a:ext uri="{9D8B030D-6E8A-4147-A177-3AD203B41FA5}">
                      <a16:colId xmlns:a16="http://schemas.microsoft.com/office/drawing/2014/main" val="724481525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3431507736"/>
                    </a:ext>
                  </a:extLst>
                </a:gridCol>
                <a:gridCol w="673273">
                  <a:extLst>
                    <a:ext uri="{9D8B030D-6E8A-4147-A177-3AD203B41FA5}">
                      <a16:colId xmlns:a16="http://schemas.microsoft.com/office/drawing/2014/main" val="3313540840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2714725058"/>
                    </a:ext>
                  </a:extLst>
                </a:gridCol>
                <a:gridCol w="566967">
                  <a:extLst>
                    <a:ext uri="{9D8B030D-6E8A-4147-A177-3AD203B41FA5}">
                      <a16:colId xmlns:a16="http://schemas.microsoft.com/office/drawing/2014/main" val="3764624477"/>
                    </a:ext>
                  </a:extLst>
                </a:gridCol>
              </a:tblGrid>
              <a:tr h="185980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Nov' 2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281642"/>
                  </a:ext>
                </a:extLst>
              </a:tr>
              <a:tr h="18598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MS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 outlet wis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0625931"/>
                  </a:ext>
                </a:extLst>
              </a:tr>
              <a:tr h="1859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but not found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t and Found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ayed Known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ught and Lost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657256"/>
                  </a:ext>
                </a:extLst>
              </a:tr>
              <a:tr h="3329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91629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203623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421808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829620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657160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073982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686328"/>
                  </a:ext>
                </a:extLst>
              </a:tr>
              <a:tr h="1859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908008"/>
                  </a:ext>
                </a:extLst>
              </a:tr>
              <a:tr h="18598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2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8288649"/>
                  </a:ext>
                </a:extLst>
              </a:tr>
              <a:tr h="18598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856" marR="8856" marT="88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56" marR="8856" marT="88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9992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935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5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5" id="{0FD1E945-0C04-4D29-98E2-341C4D14E449}" vid="{98A74680-365D-4711-A711-D2ADD621A207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5</Template>
  <TotalTime>22445</TotalTime>
  <Words>2004</Words>
  <Application>Microsoft Office PowerPoint</Application>
  <PresentationFormat>Widescreen</PresentationFormat>
  <Paragraphs>1784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Arial</vt:lpstr>
      <vt:lpstr>Calibri</vt:lpstr>
      <vt:lpstr>Times New Roman</vt:lpstr>
      <vt:lpstr>Theme5</vt:lpstr>
      <vt:lpstr>Custom Design</vt:lpstr>
      <vt:lpstr>think-cell Slide</vt:lpstr>
      <vt:lpstr>Image</vt:lpstr>
      <vt:lpstr>Microsoft Excel Worksheet</vt:lpstr>
      <vt:lpstr>Worksheet</vt:lpstr>
      <vt:lpstr>Business Review  AO – CHENNAI Nov’ 22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cket Analysis – ICV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siness review  Nov’22 C&amp;M - Chennai </vt:lpstr>
      <vt:lpstr>PowerPoint Presentation</vt:lpstr>
      <vt:lpstr>Heat map - YTD Nov’2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shokleyland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Dominicantonyraj  A ( SALES)</cp:lastModifiedBy>
  <cp:revision>421</cp:revision>
  <dcterms:created xsi:type="dcterms:W3CDTF">2018-06-07T10:25:13Z</dcterms:created>
  <dcterms:modified xsi:type="dcterms:W3CDTF">2022-12-07T16:08:56Z</dcterms:modified>
</cp:coreProperties>
</file>